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sldIdLst>
    <p:sldId id="256" r:id="rId2"/>
  </p:sldIdLst>
  <p:sldSz cx="9144000" cy="6858000" type="screen4x3"/>
  <p:notesSz cx="6797675" cy="9926638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3300"/>
    <a:srgbClr val="FF6600"/>
    <a:srgbClr val="0B90BF"/>
    <a:srgbClr val="333399"/>
    <a:srgbClr val="6600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104" d="100"/>
          <a:sy n="104" d="100"/>
        </p:scale>
        <p:origin x="1218" y="114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CB71326-5A66-4047-8E6F-466ACF3D2997}" type="datetimeFigureOut">
              <a:rPr lang="ru-RU" smtClean="0"/>
              <a:pPr/>
              <a:t>16.08.2024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125163-8B83-4ADF-8AB7-6C2FDB91F6C9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719181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69988" y="1243013"/>
            <a:ext cx="4457700" cy="33432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FDC95A-E73C-4092-8ABF-AE007264C1A2}" type="slidenum">
              <a:rPr lang="en-GB" smtClean="0">
                <a:solidFill>
                  <a:prstClr val="black"/>
                </a:solidFill>
              </a:rPr>
              <a:pPr/>
              <a:t>1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72564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16.08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16.08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16.08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4" name="Номер слайда 2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502C252-D258-485D-B551-BAAD5DA64259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7624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16.08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16.08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16.08.202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16.08.2024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16.08.2024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16.08.2024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16.08.202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16.08.202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B106E36-FD25-4E2D-B0AA-010F637433A0}" type="datetimeFigureOut">
              <a:rPr lang="ru-RU" smtClean="0"/>
              <a:pPr/>
              <a:t>16.08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1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EAC4781-456F-478B-B0A5-74814EB39A0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3907" y="1157"/>
          <a:ext cx="851" cy="113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6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3907" y="1157"/>
                        <a:ext cx="851" cy="113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EA61ADFC-61B4-422B-BB74-F16AE85C7AB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143128" y="2"/>
            <a:ext cx="85045" cy="11339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170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  <p:sp>
        <p:nvSpPr>
          <p:cNvPr id="13" name="Заголовок 1">
            <a:extLst>
              <a:ext uri="{FF2B5EF4-FFF2-40B4-BE49-F238E27FC236}">
                <a16:creationId xmlns:a16="http://schemas.microsoft.com/office/drawing/2014/main" id="{116963A7-BC97-48B9-8DF6-0262C0929D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08520" y="142852"/>
            <a:ext cx="9109676" cy="935534"/>
          </a:xfrm>
        </p:spPr>
        <p:txBody>
          <a:bodyPr>
            <a:noAutofit/>
          </a:bodyPr>
          <a:lstStyle/>
          <a:p>
            <a:r>
              <a:rPr lang="ru-RU" sz="2400" b="1" dirty="0"/>
              <a:t>РЕЙТИНГ МУНИЦИПАЛЬНЫХ ОБРАЗОВАНИЙ ПО УРОВНЮ ОТКРЫТОСТИ БЮДЖЕТНЫХ ДАННЫХ ЗА 1 ПОЛУГОДИЕ 2024 ГОДА</a:t>
            </a:r>
            <a:endParaRPr lang="ru-RU" sz="2400" b="1" dirty="0">
              <a:solidFill>
                <a:schemeClr val="bg1"/>
              </a:solidFill>
            </a:endParaRPr>
          </a:p>
        </p:txBody>
      </p:sp>
      <p:sp>
        <p:nvSpPr>
          <p:cNvPr id="29" name="Slide Number Placeholder 2">
            <a:extLst>
              <a:ext uri="{FF2B5EF4-FFF2-40B4-BE49-F238E27FC236}">
                <a16:creationId xmlns:a16="http://schemas.microsoft.com/office/drawing/2014/main" id="{A3562278-64DB-48FE-8465-6EA8171C0F4A}"/>
              </a:ext>
            </a:extLst>
          </p:cNvPr>
          <p:cNvSpPr txBox="1">
            <a:spLocks/>
          </p:cNvSpPr>
          <p:nvPr/>
        </p:nvSpPr>
        <p:spPr>
          <a:xfrm>
            <a:off x="8722703" y="6503967"/>
            <a:ext cx="400050" cy="365125"/>
          </a:xfrm>
          <a:prstGeom prst="rect">
            <a:avLst/>
          </a:prstGeom>
        </p:spPr>
        <p:txBody>
          <a:bodyPr vert="horz" lIns="76635" tIns="38318" rIns="76635" bIns="38318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i="0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600" b="1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TextBox 1"/>
          <p:cNvSpPr txBox="1"/>
          <p:nvPr/>
        </p:nvSpPr>
        <p:spPr>
          <a:xfrm>
            <a:off x="4690361" y="3974648"/>
            <a:ext cx="3818374" cy="1835348"/>
          </a:xfrm>
          <a:prstGeom prst="rect">
            <a:avLst/>
          </a:prstGeom>
        </p:spPr>
        <p:txBody>
          <a:bodyPr wrap="square" lIns="54768" tIns="27384" rIns="54768" bIns="27384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 defTabSz="273071">
              <a:spcAft>
                <a:spcPts val="360"/>
              </a:spcAft>
            </a:pPr>
            <a:endParaRPr lang="ru-RU" sz="1200" dirty="0">
              <a:solidFill>
                <a:srgbClr val="AD0101"/>
              </a:solidFill>
            </a:endParaRPr>
          </a:p>
          <a:p>
            <a:pPr algn="ctr" defTabSz="273071">
              <a:spcAft>
                <a:spcPts val="360"/>
              </a:spcAft>
            </a:pPr>
            <a:endParaRPr lang="ru-RU" sz="1200" dirty="0">
              <a:solidFill>
                <a:srgbClr val="AD0101"/>
              </a:solidFill>
            </a:endParaRPr>
          </a:p>
          <a:p>
            <a:pPr algn="ctr" defTabSz="273071">
              <a:spcAft>
                <a:spcPts val="360"/>
              </a:spcAft>
            </a:pPr>
            <a:endParaRPr lang="ru-RU" sz="1200" dirty="0">
              <a:solidFill>
                <a:srgbClr val="AD0101"/>
              </a:solidFill>
            </a:endParaRPr>
          </a:p>
        </p:txBody>
      </p:sp>
      <p:sp>
        <p:nvSpPr>
          <p:cNvPr id="11" name="Прямоугольник с двумя скругленными противолежащими углами 10"/>
          <p:cNvSpPr/>
          <p:nvPr/>
        </p:nvSpPr>
        <p:spPr>
          <a:xfrm>
            <a:off x="539551" y="1078386"/>
            <a:ext cx="2736305" cy="5014910"/>
          </a:xfrm>
          <a:prstGeom prst="round2DiagRect">
            <a:avLst/>
          </a:prstGeom>
          <a:solidFill>
            <a:srgbClr val="00682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768" tIns="27384" rIns="54768" bIns="27384" rtlCol="0" anchor="ctr"/>
          <a:lstStyle/>
          <a:p>
            <a:pPr algn="ctr" defTabSz="273071"/>
            <a:endParaRPr lang="ru-RU" sz="2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2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2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2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СОКИЙ УРОВЕНЬ ОТКРЫТОСТИ</a:t>
            </a:r>
          </a:p>
          <a:p>
            <a:pPr algn="ctr" defTabSz="273071"/>
            <a: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7 МО</a:t>
            </a:r>
          </a:p>
          <a:p>
            <a:pPr algn="ctr" defTabSz="273071"/>
            <a:endParaRPr lang="ru-RU" sz="2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dirty="0"/>
              <a:t>- </a:t>
            </a:r>
            <a:r>
              <a:rPr lang="ru-RU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Каларский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 округ</a:t>
            </a:r>
          </a:p>
          <a:p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- Карымский район,</a:t>
            </a:r>
          </a:p>
          <a:p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- </a:t>
            </a:r>
            <a:r>
              <a:rPr lang="ru-RU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Кыринский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 район,</a:t>
            </a:r>
          </a:p>
          <a:p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- Петровск-     Забайкальский  район,</a:t>
            </a:r>
          </a:p>
          <a:p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- Чернышевский район</a:t>
            </a:r>
          </a:p>
          <a:p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- г. Петровск- Забайкальский,</a:t>
            </a:r>
          </a:p>
          <a:p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- Краснокаменский   район</a:t>
            </a:r>
          </a:p>
          <a:p>
            <a:pPr marL="285750" indent="-285750">
              <a:buFontTx/>
              <a:buChar char="-"/>
            </a:pPr>
            <a:endParaRPr lang="ru-RU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9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1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1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1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1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1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2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Прямоугольник с двумя скругленными противолежащими углами 16"/>
          <p:cNvSpPr/>
          <p:nvPr/>
        </p:nvSpPr>
        <p:spPr>
          <a:xfrm>
            <a:off x="3275856" y="5949280"/>
            <a:ext cx="5328592" cy="765868"/>
          </a:xfrm>
          <a:prstGeom prst="round2DiagRect">
            <a:avLst/>
          </a:prstGeom>
          <a:solidFill>
            <a:srgbClr val="FF3300">
              <a:alpha val="8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768" tIns="27384" rIns="54768" bIns="27384" rtlCol="0" anchor="ctr"/>
          <a:lstStyle/>
          <a:p>
            <a:pPr algn="ctr" defTabSz="273071"/>
            <a:r>
              <a:rPr lang="ru-RU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ИЗКИЙ  УРОВЕНЬ ОТКРЫТОСТИ- ОТСУТСТВУЕТ</a:t>
            </a:r>
          </a:p>
        </p:txBody>
      </p:sp>
      <p:sp>
        <p:nvSpPr>
          <p:cNvPr id="19" name="Прямоугольник с двумя скругленными противолежащими углами 18"/>
          <p:cNvSpPr/>
          <p:nvPr/>
        </p:nvSpPr>
        <p:spPr>
          <a:xfrm>
            <a:off x="3473675" y="1048004"/>
            <a:ext cx="5328592" cy="4761992"/>
          </a:xfrm>
          <a:prstGeom prst="round2DiagRect">
            <a:avLst/>
          </a:prstGeom>
          <a:solidFill>
            <a:srgbClr val="333399"/>
          </a:solidFill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768" tIns="27384" rIns="54768" bIns="27384" rtlCol="0" anchor="ctr"/>
          <a:lstStyle/>
          <a:p>
            <a:pPr algn="ctr" defTabSz="273071"/>
            <a: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ЕДНИЙ УРОВЕНЬ ОТКРЫТОСТИ</a:t>
            </a:r>
          </a:p>
          <a:p>
            <a:pPr algn="ctr" defTabSz="273071"/>
            <a: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8 МО</a:t>
            </a:r>
            <a:endParaRPr lang="ru-RU" sz="1000" b="1" dirty="0">
              <a:solidFill>
                <a:srgbClr val="00B0F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r>
              <a:rPr lang="ru-RU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гинский район,   </a:t>
            </a:r>
            <a:r>
              <a:rPr lang="ru-RU" sz="15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кшинский</a:t>
            </a:r>
            <a:r>
              <a:rPr lang="ru-RU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округ,</a:t>
            </a:r>
          </a:p>
          <a:p>
            <a:pPr algn="ctr" defTabSz="273071"/>
            <a:r>
              <a:rPr lang="ru-RU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Алек-Заводский округ, Балейский район,</a:t>
            </a:r>
          </a:p>
          <a:p>
            <a:pPr algn="ctr" defTabSz="273071"/>
            <a:r>
              <a:rPr lang="ru-RU" sz="15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рзинский</a:t>
            </a:r>
            <a:r>
              <a:rPr lang="ru-RU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район, </a:t>
            </a:r>
            <a:r>
              <a:rPr lang="ru-RU" sz="15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азимуро</a:t>
            </a:r>
            <a:r>
              <a:rPr lang="ru-RU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Заводский округ,</a:t>
            </a:r>
          </a:p>
          <a:p>
            <a:pPr algn="ctr" defTabSz="273071"/>
            <a:r>
              <a:rPr lang="ru-RU" sz="15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ульдургинский</a:t>
            </a:r>
            <a:r>
              <a:rPr lang="ru-RU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район, Забайкальский район,</a:t>
            </a:r>
          </a:p>
          <a:p>
            <a:pPr algn="ctr" defTabSz="273071"/>
            <a:r>
              <a:rPr lang="ru-RU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лганский округ, Красночикойский район, </a:t>
            </a:r>
            <a:r>
              <a:rPr lang="ru-RU" sz="15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гойтуйский</a:t>
            </a:r>
            <a:r>
              <a:rPr lang="ru-RU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район, Могочинский округ,</a:t>
            </a:r>
          </a:p>
          <a:p>
            <a:pPr algn="ctr" defTabSz="273071"/>
            <a:r>
              <a:rPr lang="ru-RU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рчинский район,</a:t>
            </a:r>
          </a:p>
          <a:p>
            <a:pPr algn="ctr" defTabSz="273071"/>
            <a:r>
              <a:rPr lang="ru-RU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рчинско-Заводский округ, Ононский округ, Оловяннинский район, Приаргунский округ, </a:t>
            </a:r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Сретенский район, </a:t>
            </a:r>
            <a:r>
              <a:rPr lang="ru-RU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унгиро-Олекминский район, Тунгокоченский округ, </a:t>
            </a:r>
            <a:r>
              <a:rPr lang="ru-RU" sz="15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лётовский</a:t>
            </a:r>
            <a:r>
              <a:rPr lang="ru-RU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район, </a:t>
            </a:r>
            <a:r>
              <a:rPr lang="ru-RU" sz="15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илокский</a:t>
            </a:r>
            <a:r>
              <a:rPr lang="ru-RU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район, Читинский район,</a:t>
            </a:r>
          </a:p>
          <a:p>
            <a:pPr algn="ctr" defTabSz="273071"/>
            <a:r>
              <a:rPr lang="ru-RU" sz="15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елопугинский</a:t>
            </a:r>
            <a:r>
              <a:rPr lang="ru-RU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район, Шилкинский район,           п. Агинское,</a:t>
            </a:r>
          </a:p>
          <a:p>
            <a:pPr algn="ctr" defTabSz="273071"/>
            <a:r>
              <a:rPr lang="ru-RU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.Чита, п. ЗАТО Горный</a:t>
            </a:r>
          </a:p>
          <a:p>
            <a:pPr algn="ctr" defTabSz="273071"/>
            <a:endParaRPr lang="ru-RU" sz="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644224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VnPXHhtzp9iA99fNcWyA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30</TotalTime>
  <Words>145</Words>
  <Application>Microsoft Office PowerPoint</Application>
  <PresentationFormat>Экран (4:3)</PresentationFormat>
  <Paragraphs>38</Paragraphs>
  <Slides>1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2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</vt:i4>
      </vt:variant>
    </vt:vector>
  </HeadingPairs>
  <TitlesOfParts>
    <vt:vector size="5" baseType="lpstr">
      <vt:lpstr>Arial</vt:lpstr>
      <vt:lpstr>Calibri</vt:lpstr>
      <vt:lpstr>Тема Office</vt:lpstr>
      <vt:lpstr>think-cell Slide</vt:lpstr>
      <vt:lpstr>РЕЙТИНГ МУНИЦИПАЛЬНЫХ ОБРАЗОВАНИЙ ПО УРОВНЮ ОТКРЫТОСТИ БЮДЖЕТНЫХ ДАННЫХ ЗА 1 ПОЛУГОДИЕ 2024 ГОДА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РЕЙТИНГ УРОВНЯ ОТКРЫТОСТИ БЮДЖЕТНЫХ ДАННЫХ МУНИЦИПАЛЬНЫХ ОБРАЗОВАНИЙ ЗА 2021</dc:title>
  <dc:creator>Макарова Дарья Сергеевна</dc:creator>
  <cp:lastModifiedBy>Шабанова Анна Викторовна</cp:lastModifiedBy>
  <cp:revision>21</cp:revision>
  <cp:lastPrinted>2024-08-16T06:13:05Z</cp:lastPrinted>
  <dcterms:created xsi:type="dcterms:W3CDTF">2022-06-27T05:53:54Z</dcterms:created>
  <dcterms:modified xsi:type="dcterms:W3CDTF">2024-08-16T06:20:26Z</dcterms:modified>
</cp:coreProperties>
</file>